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9144000" cy="6858000" type="screen4x3"/>
  <p:notesSz cx="6797675" cy="987425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B49696"/>
          </p15:clr>
        </p15:guide>
        <p15:guide id="2" orient="horz" pos="1298" userDrawn="1">
          <p15:clr>
            <a:srgbClr val="B49696"/>
          </p15:clr>
        </p15:guide>
        <p15:guide id="3" orient="horz" pos="1548" userDrawn="1">
          <p15:clr>
            <a:srgbClr val="B49696"/>
          </p15:clr>
        </p15:guide>
        <p15:guide id="4" orient="horz" pos="3566" userDrawn="1">
          <p15:clr>
            <a:srgbClr val="B49696"/>
          </p15:clr>
        </p15:guide>
        <p15:guide id="5" orient="horz" pos="3997" userDrawn="1">
          <p15:clr>
            <a:srgbClr val="B49696"/>
          </p15:clr>
        </p15:guide>
        <p15:guide id="6" orient="horz" pos="4247" userDrawn="1">
          <p15:clr>
            <a:srgbClr val="B49696"/>
          </p15:clr>
        </p15:guide>
        <p15:guide id="7" pos="158" userDrawn="1">
          <p15:clr>
            <a:srgbClr val="B49696"/>
          </p15:clr>
        </p15:guide>
        <p15:guide id="8" pos="2652" userDrawn="1">
          <p15:clr>
            <a:srgbClr val="B49696"/>
          </p15:clr>
        </p15:guide>
        <p15:guide id="9" pos="2881" userDrawn="1">
          <p15:clr>
            <a:srgbClr val="B49696"/>
          </p15:clr>
        </p15:guide>
        <p15:guide id="10" pos="3107" userDrawn="1">
          <p15:clr>
            <a:srgbClr val="B49696"/>
          </p15:clr>
        </p15:guide>
        <p15:guide id="11" pos="5602" userDrawn="1">
          <p15:clr>
            <a:srgbClr val="B49696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951" autoAdjust="0"/>
  </p:normalViewPr>
  <p:slideViewPr>
    <p:cSldViewPr snapToObjects="1" showGuides="1">
      <p:cViewPr varScale="1">
        <p:scale>
          <a:sx n="130" d="100"/>
          <a:sy n="130" d="100"/>
        </p:scale>
        <p:origin x="474" y="126"/>
      </p:cViewPr>
      <p:guideLst>
        <p:guide orient="horz" pos="1026"/>
        <p:guide orient="horz" pos="1298"/>
        <p:guide orient="horz" pos="1548"/>
        <p:guide orient="horz" pos="3566"/>
        <p:guide orient="horz" pos="3997"/>
        <p:guide orient="horz" pos="4247"/>
        <p:guide pos="158"/>
        <p:guide pos="2652"/>
        <p:guide pos="2881"/>
        <p:guide pos="3107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64" d="100"/>
          <a:sy n="64" d="100"/>
        </p:scale>
        <p:origin x="-1392" y="-108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17/2021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4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1388" y="747713"/>
            <a:ext cx="4921250" cy="3692525"/>
          </a:xfrm>
          <a:ln/>
        </p:spPr>
      </p:sp>
      <p:sp>
        <p:nvSpPr>
          <p:cNvPr id="313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70" y="4688966"/>
            <a:ext cx="4986141" cy="4444066"/>
          </a:xfrm>
          <a:noFill/>
          <a:ln/>
        </p:spPr>
        <p:txBody>
          <a:bodyPr lIns="99108" tIns="49556" rIns="99108" bIns="49556"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158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hyperlink" Target="http://www.atkearney.com/" TargetMode="External"/><Relationship Id="rId5" Type="http://schemas.openxmlformats.org/officeDocument/2006/relationships/image" Target="../media/image1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3461418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6932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4618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782255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2841052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5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>
            <p:custDataLst>
              <p:tags r:id="rId2"/>
            </p:custDataLst>
          </p:nvPr>
        </p:nvSpPr>
        <p:spPr bwMode="gray">
          <a:xfrm>
            <a:off x="244800" y="1700784"/>
            <a:ext cx="8640608" cy="1296168"/>
          </a:xfrm>
          <a:prstGeom prst="rect">
            <a:avLst/>
          </a:prstGeom>
          <a:noFill/>
          <a:ln w="635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.T. Kearney is a leading global management consulting firm with offices in 40 countries. Since 1926,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6"/>
              </a:rPr>
              <a:t>www.atkearney.c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5250937"/>
              </p:ext>
            </p:extLst>
          </p:nvPr>
        </p:nvGraphicFramePr>
        <p:xfrm>
          <a:off x="244800" y="2895600"/>
          <a:ext cx="8640608" cy="2089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00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5755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Bosto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Calgary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Chicag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allas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etro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Houston</a:t>
                      </a:r>
                      <a:endParaRPr lang="en-US" sz="900" b="1" dirty="0">
                        <a:latin typeface="+mn-lt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Mexico C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New York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an Francisc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ão Paulo</a:t>
                      </a: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</a:rPr>
                        <a:t> </a:t>
                      </a:r>
                      <a:r>
                        <a:rPr lang="en-US" sz="900" dirty="0">
                          <a:latin typeface="+mn-lt"/>
                        </a:rPr>
                        <a:t>D.C.</a:t>
                      </a:r>
                      <a:endParaRPr lang="en-US" sz="900" dirty="0">
                        <a:latin typeface="+mn-lt"/>
                        <a:cs typeface="Arial" pitchFamily="34" charset="0"/>
                      </a:endParaRPr>
                    </a:p>
                  </a:txBody>
                  <a:tcPr marL="0" marR="0" marT="36000" marB="108000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3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iji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isbane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akart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uala Lumpur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elbourn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ert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ydney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okyo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2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Frankfur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Istanbul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isb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adrid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ila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Munich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Oslo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ari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Stockholm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tuttgar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Zurich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en-US" sz="900" dirty="0">
                        <a:latin typeface="Arial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</a:rPr>
                      </a:br>
                      <a:r>
                        <a:rPr lang="en-US" sz="9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oha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ohannesburg</a:t>
                      </a: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Arial"/>
                        </a:rPr>
                        <a:t>Riyadh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0" marB="108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374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01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8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 userDrawn="1">
          <p15:clr>
            <a:srgbClr val="FF9696"/>
          </p15:clr>
        </p15:guide>
        <p15:guide id="2" orient="horz" pos="1298" userDrawn="1">
          <p15:clr>
            <a:srgbClr val="FF9696"/>
          </p15:clr>
        </p15:guide>
        <p15:guide id="3" orient="horz" pos="1548" userDrawn="1">
          <p15:clr>
            <a:srgbClr val="FF9696"/>
          </p15:clr>
        </p15:guide>
        <p15:guide id="4" orient="horz" pos="3566" userDrawn="1">
          <p15:clr>
            <a:srgbClr val="FF9696"/>
          </p15:clr>
        </p15:guide>
        <p15:guide id="5" orient="horz" pos="3997" userDrawn="1">
          <p15:clr>
            <a:srgbClr val="FF9696"/>
          </p15:clr>
        </p15:guide>
        <p15:guide id="6" orient="horz" pos="4247" userDrawn="1">
          <p15:clr>
            <a:srgbClr val="FF9696"/>
          </p15:clr>
        </p15:guide>
        <p15:guide id="7" pos="158" userDrawn="1">
          <p15:clr>
            <a:srgbClr val="FF9696"/>
          </p15:clr>
        </p15:guide>
        <p15:guide id="8" pos="2652" userDrawn="1">
          <p15:clr>
            <a:srgbClr val="FF9696"/>
          </p15:clr>
        </p15:guide>
        <p15:guide id="9" pos="2881" userDrawn="1">
          <p15:clr>
            <a:srgbClr val="FF9696"/>
          </p15:clr>
        </p15:guide>
        <p15:guide id="10" pos="3107" userDrawn="1">
          <p15:clr>
            <a:srgbClr val="FF9696"/>
          </p15:clr>
        </p15:guide>
        <p15:guide id="11" pos="5602" userDrawn="1">
          <p15:clr>
            <a:srgbClr val="FF969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pPr lvl="2"/>
            <a:r>
              <a:rPr lang="en-US" dirty="0">
                <a:latin typeface="Arial"/>
              </a:rPr>
              <a:t>Column heads are dark grey with white text</a:t>
            </a:r>
          </a:p>
        </p:txBody>
      </p:sp>
    </p:spTree>
    <p:extLst>
      <p:ext uri="{BB962C8B-B14F-4D97-AF65-F5344CB8AC3E}">
        <p14:creationId xmlns:p14="http://schemas.microsoft.com/office/powerpoint/2010/main" val="306399314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56&quot;/&gt;&lt;m_nIndex val=&quot;1&quot;/&gt;&lt;/elem&gt;&lt;key val=&quot;1&quot;/&gt;&lt;elem&gt;&lt;m_nPartnerID val=&quot;556&quot;/&gt;&lt;m_nIndex val=&quot;1&quot;/&gt;&lt;/elem&gt;&lt;key val=&quot;2&quot;/&gt;&lt;elem&gt;&lt;m_nPartnerID val=&quot;556&quot;/&gt;&lt;m_nIndex val=&quot;1&quot;/&gt;&lt;/elem&gt;&lt;key val=&quot;3&quot;/&gt;&lt;elem&gt;&lt;m_nPartnerID val=&quot;556&quot;/&gt;&lt;m_nIndex val=&quot;2&quot;/&gt;&lt;/elem&gt;&lt;key val=&quot;4&quot;/&gt;&lt;elem&gt;&lt;m_nPartnerID val=&quot;55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SnFEo5.Eec6uyzeKVP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</Words>
  <Application>Microsoft Office PowerPoint</Application>
  <PresentationFormat>On-screen Show (4:3)</PresentationFormat>
  <Paragraphs>1</Paragraphs>
  <Slides>1</Slides>
  <Notes>1</Notes>
  <HiddenSlides>1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Arial</vt:lpstr>
      <vt:lpstr>Blank</vt:lpstr>
      <vt:lpstr>Column heads are dark grey with white tex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9-06T14:30:44Z</dcterms:created>
  <dcterms:modified xsi:type="dcterms:W3CDTF">2021-04-17T10:27:59Z</dcterms:modified>
  <cp:version>042017</cp:version>
</cp:coreProperties>
</file>